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7"/>
  </p:notesMasterIdLst>
  <p:sldIdLst>
    <p:sldId id="256" r:id="rId2"/>
    <p:sldId id="318" r:id="rId3"/>
    <p:sldId id="319" r:id="rId4"/>
    <p:sldId id="419" r:id="rId5"/>
    <p:sldId id="363" r:id="rId6"/>
  </p:sldIdLst>
  <p:sldSz cx="12192000" cy="6858000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8" userDrawn="1">
          <p15:clr>
            <a:srgbClr val="A4A3A4"/>
          </p15:clr>
        </p15:guide>
        <p15:guide id="4" pos="347" userDrawn="1">
          <p15:clr>
            <a:srgbClr val="A4A3A4"/>
          </p15:clr>
        </p15:guide>
        <p15:guide id="5" orient="horz" pos="822" userDrawn="1">
          <p15:clr>
            <a:srgbClr val="A4A3A4"/>
          </p15:clr>
        </p15:guide>
        <p15:guide id="6" orient="horz" pos="2136" userDrawn="1">
          <p15:clr>
            <a:srgbClr val="A4A3A4"/>
          </p15:clr>
        </p15:guide>
        <p15:guide id="17" orient="horz" pos="3090" userDrawn="1">
          <p15:clr>
            <a:srgbClr val="A4A3A4"/>
          </p15:clr>
        </p15:guide>
        <p15:guide id="18" orient="horz" pos="3838" userDrawn="1">
          <p15:clr>
            <a:srgbClr val="A4A3A4"/>
          </p15:clr>
        </p15:guide>
        <p15:guide id="19" pos="3727" userDrawn="1">
          <p15:clr>
            <a:srgbClr val="A4A3A4"/>
          </p15:clr>
        </p15:guide>
        <p15:guide id="20" pos="4135" userDrawn="1">
          <p15:clr>
            <a:srgbClr val="A4A3A4"/>
          </p15:clr>
        </p15:guide>
        <p15:guide id="22" orient="horz" pos="4320" userDrawn="1">
          <p15:clr>
            <a:srgbClr val="A4A3A4"/>
          </p15:clr>
        </p15:guide>
        <p15:guide id="27" pos="5592" userDrawn="1">
          <p15:clr>
            <a:srgbClr val="A4A3A4"/>
          </p15:clr>
        </p15:guide>
        <p15:guide id="29" orient="horz" pos="2500" userDrawn="1">
          <p15:clr>
            <a:srgbClr val="A4A3A4"/>
          </p15:clr>
        </p15:guide>
        <p15:guide id="30" pos="1912" userDrawn="1">
          <p15:clr>
            <a:srgbClr val="A4A3A4"/>
          </p15:clr>
        </p15:guide>
        <p15:guide id="31" pos="554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irpo, Carla (MX - Mexico)" initials="FC(-M" lastIdx="13" clrIdx="0">
    <p:extLst>
      <p:ext uri="{19B8F6BF-5375-455C-9EA6-DF929625EA0E}">
        <p15:presenceInfo xmlns:p15="http://schemas.microsoft.com/office/powerpoint/2012/main" userId="S-1-5-21-1807443755-1164125163-14498641-14842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BC181"/>
    <a:srgbClr val="FF2D2D"/>
    <a:srgbClr val="F2F2F2"/>
    <a:srgbClr val="003063"/>
    <a:srgbClr val="7F7F7F"/>
    <a:srgbClr val="BFBFBF"/>
    <a:srgbClr val="F32D2E"/>
    <a:srgbClr val="A5A5A5"/>
    <a:srgbClr val="1D4A9B"/>
    <a:srgbClr val="7E7E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154" autoAdjust="0"/>
    <p:restoredTop sz="95441" autoAdjust="0"/>
  </p:normalViewPr>
  <p:slideViewPr>
    <p:cSldViewPr snapToGrid="0">
      <p:cViewPr varScale="1">
        <p:scale>
          <a:sx n="61" d="100"/>
          <a:sy n="61" d="100"/>
        </p:scale>
        <p:origin x="90" y="1110"/>
      </p:cViewPr>
      <p:guideLst>
        <p:guide orient="horz" pos="278"/>
        <p:guide pos="347"/>
        <p:guide orient="horz" pos="822"/>
        <p:guide orient="horz" pos="2136"/>
        <p:guide orient="horz" pos="3090"/>
        <p:guide orient="horz" pos="3838"/>
        <p:guide pos="3727"/>
        <p:guide pos="4135"/>
        <p:guide orient="horz" pos="4320"/>
        <p:guide pos="5592"/>
        <p:guide orient="horz" pos="2500"/>
        <p:guide pos="1912"/>
        <p:guide pos="554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2FE06E-2AE8-4029-9F7C-50B28FD1BA59}" type="datetimeFigureOut">
              <a:rPr lang="es-MX" smtClean="0"/>
              <a:t>13/06/2023</a:t>
            </a:fld>
            <a:endParaRPr lang="es-MX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5367E7-9FFA-48B6-B09D-F0EA71DE088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1691269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221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53297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849" y="365125"/>
            <a:ext cx="5753529" cy="1325563"/>
          </a:xfrm>
        </p:spPr>
        <p:txBody>
          <a:bodyPr vert="horz" lIns="91440" tIns="45720" rIns="91440" bIns="45720" rtlCol="0" anchor="ctr"/>
          <a:lstStyle>
            <a:lvl1pPr algn="r">
              <a:defRPr lang="es-MX" sz="3600" b="1" dirty="0">
                <a:solidFill>
                  <a:srgbClr val="00306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r"/>
            <a:r>
              <a:rPr lang="en-US" dirty="0"/>
              <a:t>Click to edit Master title style</a:t>
            </a:r>
            <a:endParaRPr lang="es-MX" dirty="0"/>
          </a:p>
        </p:txBody>
      </p:sp>
      <p:sp>
        <p:nvSpPr>
          <p:cNvPr id="8" name="Flowchart: Manual Operation 9"/>
          <p:cNvSpPr/>
          <p:nvPr userDrawn="1"/>
        </p:nvSpPr>
        <p:spPr>
          <a:xfrm flipH="1">
            <a:off x="-30295" y="-10188"/>
            <a:ext cx="3023882" cy="6874435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1"/>
              <a:gd name="connsiteX1" fmla="*/ 10000 w 10000"/>
              <a:gd name="connsiteY1" fmla="*/ 0 h 10021"/>
              <a:gd name="connsiteX2" fmla="*/ 8000 w 10000"/>
              <a:gd name="connsiteY2" fmla="*/ 10000 h 10021"/>
              <a:gd name="connsiteX3" fmla="*/ 3333 w 10000"/>
              <a:gd name="connsiteY3" fmla="*/ 10021 h 10021"/>
              <a:gd name="connsiteX4" fmla="*/ 0 w 10000"/>
              <a:gd name="connsiteY4" fmla="*/ 0 h 10021"/>
              <a:gd name="connsiteX0" fmla="*/ 0 w 10000"/>
              <a:gd name="connsiteY0" fmla="*/ 0 h 10021"/>
              <a:gd name="connsiteX1" fmla="*/ 10000 w 10000"/>
              <a:gd name="connsiteY1" fmla="*/ 0 h 10021"/>
              <a:gd name="connsiteX2" fmla="*/ 8000 w 10000"/>
              <a:gd name="connsiteY2" fmla="*/ 10000 h 10021"/>
              <a:gd name="connsiteX3" fmla="*/ 3333 w 10000"/>
              <a:gd name="connsiteY3" fmla="*/ 10021 h 10021"/>
              <a:gd name="connsiteX4" fmla="*/ 0 w 10000"/>
              <a:gd name="connsiteY4" fmla="*/ 0 h 10021"/>
              <a:gd name="connsiteX0" fmla="*/ 0 w 8507"/>
              <a:gd name="connsiteY0" fmla="*/ 0 h 10021"/>
              <a:gd name="connsiteX1" fmla="*/ 8507 w 8507"/>
              <a:gd name="connsiteY1" fmla="*/ 0 h 10021"/>
              <a:gd name="connsiteX2" fmla="*/ 8000 w 8507"/>
              <a:gd name="connsiteY2" fmla="*/ 10000 h 10021"/>
              <a:gd name="connsiteX3" fmla="*/ 3333 w 8507"/>
              <a:gd name="connsiteY3" fmla="*/ 10021 h 10021"/>
              <a:gd name="connsiteX4" fmla="*/ 0 w 8507"/>
              <a:gd name="connsiteY4" fmla="*/ 0 h 10021"/>
              <a:gd name="connsiteX0" fmla="*/ 0 w 9498"/>
              <a:gd name="connsiteY0" fmla="*/ 21 h 10021"/>
              <a:gd name="connsiteX1" fmla="*/ 9498 w 9498"/>
              <a:gd name="connsiteY1" fmla="*/ 0 h 10021"/>
              <a:gd name="connsiteX2" fmla="*/ 9404 w 9498"/>
              <a:gd name="connsiteY2" fmla="*/ 10000 h 10021"/>
              <a:gd name="connsiteX3" fmla="*/ 3918 w 9498"/>
              <a:gd name="connsiteY3" fmla="*/ 10021 h 10021"/>
              <a:gd name="connsiteX4" fmla="*/ 0 w 9498"/>
              <a:gd name="connsiteY4" fmla="*/ 21 h 10021"/>
              <a:gd name="connsiteX0" fmla="*/ 0 w 10000"/>
              <a:gd name="connsiteY0" fmla="*/ 0 h 9979"/>
              <a:gd name="connsiteX1" fmla="*/ 10000 w 10000"/>
              <a:gd name="connsiteY1" fmla="*/ 26 h 9979"/>
              <a:gd name="connsiteX2" fmla="*/ 9901 w 10000"/>
              <a:gd name="connsiteY2" fmla="*/ 9958 h 9979"/>
              <a:gd name="connsiteX3" fmla="*/ 4125 w 10000"/>
              <a:gd name="connsiteY3" fmla="*/ 9979 h 9979"/>
              <a:gd name="connsiteX4" fmla="*/ 0 w 10000"/>
              <a:gd name="connsiteY4" fmla="*/ 0 h 9979"/>
              <a:gd name="connsiteX0" fmla="*/ 0 w 10000"/>
              <a:gd name="connsiteY0" fmla="*/ 0 h 10000"/>
              <a:gd name="connsiteX1" fmla="*/ 10000 w 10000"/>
              <a:gd name="connsiteY1" fmla="*/ 10 h 10000"/>
              <a:gd name="connsiteX2" fmla="*/ 9901 w 10000"/>
              <a:gd name="connsiteY2" fmla="*/ 9979 h 10000"/>
              <a:gd name="connsiteX3" fmla="*/ 4125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9985"/>
              <a:gd name="connsiteX1" fmla="*/ 10000 w 10000"/>
              <a:gd name="connsiteY1" fmla="*/ 10 h 9985"/>
              <a:gd name="connsiteX2" fmla="*/ 9901 w 10000"/>
              <a:gd name="connsiteY2" fmla="*/ 9979 h 9985"/>
              <a:gd name="connsiteX3" fmla="*/ 4125 w 10000"/>
              <a:gd name="connsiteY3" fmla="*/ 9985 h 9985"/>
              <a:gd name="connsiteX4" fmla="*/ 0 w 10000"/>
              <a:gd name="connsiteY4" fmla="*/ 0 h 9985"/>
              <a:gd name="connsiteX0" fmla="*/ 0 w 10000"/>
              <a:gd name="connsiteY0" fmla="*/ 0 h 9994"/>
              <a:gd name="connsiteX1" fmla="*/ 10000 w 10000"/>
              <a:gd name="connsiteY1" fmla="*/ 10 h 9994"/>
              <a:gd name="connsiteX2" fmla="*/ 9901 w 10000"/>
              <a:gd name="connsiteY2" fmla="*/ 9994 h 9994"/>
              <a:gd name="connsiteX3" fmla="*/ 4125 w 10000"/>
              <a:gd name="connsiteY3" fmla="*/ 9970 h 9994"/>
              <a:gd name="connsiteX4" fmla="*/ 0 w 10000"/>
              <a:gd name="connsiteY4" fmla="*/ 0 h 9994"/>
              <a:gd name="connsiteX0" fmla="*/ 0 w 10000"/>
              <a:gd name="connsiteY0" fmla="*/ 0 h 10022"/>
              <a:gd name="connsiteX1" fmla="*/ 10000 w 10000"/>
              <a:gd name="connsiteY1" fmla="*/ 10 h 10022"/>
              <a:gd name="connsiteX2" fmla="*/ 9901 w 10000"/>
              <a:gd name="connsiteY2" fmla="*/ 10000 h 10022"/>
              <a:gd name="connsiteX3" fmla="*/ 3965 w 10000"/>
              <a:gd name="connsiteY3" fmla="*/ 10022 h 10022"/>
              <a:gd name="connsiteX4" fmla="*/ 0 w 10000"/>
              <a:gd name="connsiteY4" fmla="*/ 0 h 10022"/>
              <a:gd name="connsiteX0" fmla="*/ 0 w 10000"/>
              <a:gd name="connsiteY0" fmla="*/ 0 h 10022"/>
              <a:gd name="connsiteX1" fmla="*/ 10000 w 10000"/>
              <a:gd name="connsiteY1" fmla="*/ 10 h 10022"/>
              <a:gd name="connsiteX2" fmla="*/ 9292 w 10000"/>
              <a:gd name="connsiteY2" fmla="*/ 9985 h 10022"/>
              <a:gd name="connsiteX3" fmla="*/ 3965 w 10000"/>
              <a:gd name="connsiteY3" fmla="*/ 10022 h 10022"/>
              <a:gd name="connsiteX4" fmla="*/ 0 w 10000"/>
              <a:gd name="connsiteY4" fmla="*/ 0 h 10022"/>
              <a:gd name="connsiteX0" fmla="*/ 0 w 10000"/>
              <a:gd name="connsiteY0" fmla="*/ 0 h 10022"/>
              <a:gd name="connsiteX1" fmla="*/ 10000 w 10000"/>
              <a:gd name="connsiteY1" fmla="*/ 10 h 10022"/>
              <a:gd name="connsiteX2" fmla="*/ 9292 w 10000"/>
              <a:gd name="connsiteY2" fmla="*/ 10000 h 10022"/>
              <a:gd name="connsiteX3" fmla="*/ 3965 w 10000"/>
              <a:gd name="connsiteY3" fmla="*/ 10022 h 10022"/>
              <a:gd name="connsiteX4" fmla="*/ 0 w 10000"/>
              <a:gd name="connsiteY4" fmla="*/ 0 h 10022"/>
              <a:gd name="connsiteX0" fmla="*/ 0 w 9293"/>
              <a:gd name="connsiteY0" fmla="*/ 0 h 10022"/>
              <a:gd name="connsiteX1" fmla="*/ 8814 w 9293"/>
              <a:gd name="connsiteY1" fmla="*/ 329 h 10022"/>
              <a:gd name="connsiteX2" fmla="*/ 9292 w 9293"/>
              <a:gd name="connsiteY2" fmla="*/ 10000 h 10022"/>
              <a:gd name="connsiteX3" fmla="*/ 3965 w 9293"/>
              <a:gd name="connsiteY3" fmla="*/ 10022 h 10022"/>
              <a:gd name="connsiteX4" fmla="*/ 0 w 9293"/>
              <a:gd name="connsiteY4" fmla="*/ 0 h 10022"/>
              <a:gd name="connsiteX0" fmla="*/ 0 w 10009"/>
              <a:gd name="connsiteY0" fmla="*/ 20 h 10020"/>
              <a:gd name="connsiteX1" fmla="*/ 10003 w 10009"/>
              <a:gd name="connsiteY1" fmla="*/ 0 h 10020"/>
              <a:gd name="connsiteX2" fmla="*/ 9999 w 10009"/>
              <a:gd name="connsiteY2" fmla="*/ 9998 h 10020"/>
              <a:gd name="connsiteX3" fmla="*/ 4267 w 10009"/>
              <a:gd name="connsiteY3" fmla="*/ 10020 h 10020"/>
              <a:gd name="connsiteX4" fmla="*/ 0 w 10009"/>
              <a:gd name="connsiteY4" fmla="*/ 20 h 10020"/>
              <a:gd name="connsiteX0" fmla="*/ 0 w 10003"/>
              <a:gd name="connsiteY0" fmla="*/ 20 h 10020"/>
              <a:gd name="connsiteX1" fmla="*/ 10003 w 10003"/>
              <a:gd name="connsiteY1" fmla="*/ 0 h 10020"/>
              <a:gd name="connsiteX2" fmla="*/ 9792 w 10003"/>
              <a:gd name="connsiteY2" fmla="*/ 9937 h 10020"/>
              <a:gd name="connsiteX3" fmla="*/ 4267 w 10003"/>
              <a:gd name="connsiteY3" fmla="*/ 10020 h 10020"/>
              <a:gd name="connsiteX4" fmla="*/ 0 w 10003"/>
              <a:gd name="connsiteY4" fmla="*/ 20 h 10020"/>
              <a:gd name="connsiteX0" fmla="*/ 0 w 10041"/>
              <a:gd name="connsiteY0" fmla="*/ 20 h 10020"/>
              <a:gd name="connsiteX1" fmla="*/ 10003 w 10041"/>
              <a:gd name="connsiteY1" fmla="*/ 0 h 10020"/>
              <a:gd name="connsiteX2" fmla="*/ 10034 w 10041"/>
              <a:gd name="connsiteY2" fmla="*/ 10013 h 10020"/>
              <a:gd name="connsiteX3" fmla="*/ 4267 w 10041"/>
              <a:gd name="connsiteY3" fmla="*/ 10020 h 10020"/>
              <a:gd name="connsiteX4" fmla="*/ 0 w 10041"/>
              <a:gd name="connsiteY4" fmla="*/ 20 h 10020"/>
              <a:gd name="connsiteX0" fmla="*/ 0 w 10041"/>
              <a:gd name="connsiteY0" fmla="*/ 20 h 10013"/>
              <a:gd name="connsiteX1" fmla="*/ 10003 w 10041"/>
              <a:gd name="connsiteY1" fmla="*/ 0 h 10013"/>
              <a:gd name="connsiteX2" fmla="*/ 10034 w 10041"/>
              <a:gd name="connsiteY2" fmla="*/ 10013 h 10013"/>
              <a:gd name="connsiteX3" fmla="*/ 4198 w 10041"/>
              <a:gd name="connsiteY3" fmla="*/ 10005 h 10013"/>
              <a:gd name="connsiteX4" fmla="*/ 0 w 10041"/>
              <a:gd name="connsiteY4" fmla="*/ 20 h 10013"/>
              <a:gd name="connsiteX0" fmla="*/ 0 w 10041"/>
              <a:gd name="connsiteY0" fmla="*/ 5 h 10013"/>
              <a:gd name="connsiteX1" fmla="*/ 10003 w 10041"/>
              <a:gd name="connsiteY1" fmla="*/ 0 h 10013"/>
              <a:gd name="connsiteX2" fmla="*/ 10034 w 10041"/>
              <a:gd name="connsiteY2" fmla="*/ 10013 h 10013"/>
              <a:gd name="connsiteX3" fmla="*/ 4198 w 10041"/>
              <a:gd name="connsiteY3" fmla="*/ 10005 h 10013"/>
              <a:gd name="connsiteX4" fmla="*/ 0 w 10041"/>
              <a:gd name="connsiteY4" fmla="*/ 5 h 10013"/>
              <a:gd name="connsiteX0" fmla="*/ 0 w 10041"/>
              <a:gd name="connsiteY0" fmla="*/ 0 h 10023"/>
              <a:gd name="connsiteX1" fmla="*/ 10003 w 10041"/>
              <a:gd name="connsiteY1" fmla="*/ 10 h 10023"/>
              <a:gd name="connsiteX2" fmla="*/ 10034 w 10041"/>
              <a:gd name="connsiteY2" fmla="*/ 10023 h 10023"/>
              <a:gd name="connsiteX3" fmla="*/ 4198 w 10041"/>
              <a:gd name="connsiteY3" fmla="*/ 10015 h 10023"/>
              <a:gd name="connsiteX4" fmla="*/ 0 w 10041"/>
              <a:gd name="connsiteY4" fmla="*/ 0 h 10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1" h="10023">
                <a:moveTo>
                  <a:pt x="0" y="0"/>
                </a:moveTo>
                <a:lnTo>
                  <a:pt x="10003" y="10"/>
                </a:lnTo>
                <a:cubicBezTo>
                  <a:pt x="9967" y="3343"/>
                  <a:pt x="10069" y="6690"/>
                  <a:pt x="10034" y="10023"/>
                </a:cubicBezTo>
                <a:lnTo>
                  <a:pt x="4198" y="10015"/>
                </a:lnTo>
                <a:cubicBezTo>
                  <a:pt x="5951" y="4526"/>
                  <a:pt x="1480" y="3333"/>
                  <a:pt x="0" y="0"/>
                </a:cubicBezTo>
                <a:close/>
              </a:path>
            </a:pathLst>
          </a:custGeom>
          <a:solidFill>
            <a:srgbClr val="00306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097713" y="1690688"/>
            <a:ext cx="4759325" cy="834303"/>
          </a:xfrm>
        </p:spPr>
        <p:txBody>
          <a:bodyPr vert="horz" lIns="91440" tIns="45720" rIns="91440" bIns="45720" rtlCol="0" anchor="ctr"/>
          <a:lstStyle>
            <a:lvl1pPr algn="r">
              <a:defRPr lang="en-US" smtClean="0">
                <a:solidFill>
                  <a:srgbClr val="003063"/>
                </a:solidFill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mtClean="0"/>
            </a:lvl4pPr>
            <a:lvl5pPr>
              <a:defRPr lang="es-MX"/>
            </a:lvl5pPr>
          </a:lstStyle>
          <a:p>
            <a:pPr marL="0" lvl="0" indent="0" algn="r">
              <a:buNone/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589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lowchart: Manual Operation 9"/>
          <p:cNvSpPr/>
          <p:nvPr userDrawn="1"/>
        </p:nvSpPr>
        <p:spPr>
          <a:xfrm flipH="1">
            <a:off x="-30295" y="-10188"/>
            <a:ext cx="3023882" cy="6874435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1"/>
              <a:gd name="connsiteX1" fmla="*/ 10000 w 10000"/>
              <a:gd name="connsiteY1" fmla="*/ 0 h 10021"/>
              <a:gd name="connsiteX2" fmla="*/ 8000 w 10000"/>
              <a:gd name="connsiteY2" fmla="*/ 10000 h 10021"/>
              <a:gd name="connsiteX3" fmla="*/ 3333 w 10000"/>
              <a:gd name="connsiteY3" fmla="*/ 10021 h 10021"/>
              <a:gd name="connsiteX4" fmla="*/ 0 w 10000"/>
              <a:gd name="connsiteY4" fmla="*/ 0 h 10021"/>
              <a:gd name="connsiteX0" fmla="*/ 0 w 10000"/>
              <a:gd name="connsiteY0" fmla="*/ 0 h 10021"/>
              <a:gd name="connsiteX1" fmla="*/ 10000 w 10000"/>
              <a:gd name="connsiteY1" fmla="*/ 0 h 10021"/>
              <a:gd name="connsiteX2" fmla="*/ 8000 w 10000"/>
              <a:gd name="connsiteY2" fmla="*/ 10000 h 10021"/>
              <a:gd name="connsiteX3" fmla="*/ 3333 w 10000"/>
              <a:gd name="connsiteY3" fmla="*/ 10021 h 10021"/>
              <a:gd name="connsiteX4" fmla="*/ 0 w 10000"/>
              <a:gd name="connsiteY4" fmla="*/ 0 h 10021"/>
              <a:gd name="connsiteX0" fmla="*/ 0 w 8507"/>
              <a:gd name="connsiteY0" fmla="*/ 0 h 10021"/>
              <a:gd name="connsiteX1" fmla="*/ 8507 w 8507"/>
              <a:gd name="connsiteY1" fmla="*/ 0 h 10021"/>
              <a:gd name="connsiteX2" fmla="*/ 8000 w 8507"/>
              <a:gd name="connsiteY2" fmla="*/ 10000 h 10021"/>
              <a:gd name="connsiteX3" fmla="*/ 3333 w 8507"/>
              <a:gd name="connsiteY3" fmla="*/ 10021 h 10021"/>
              <a:gd name="connsiteX4" fmla="*/ 0 w 8507"/>
              <a:gd name="connsiteY4" fmla="*/ 0 h 10021"/>
              <a:gd name="connsiteX0" fmla="*/ 0 w 9498"/>
              <a:gd name="connsiteY0" fmla="*/ 21 h 10021"/>
              <a:gd name="connsiteX1" fmla="*/ 9498 w 9498"/>
              <a:gd name="connsiteY1" fmla="*/ 0 h 10021"/>
              <a:gd name="connsiteX2" fmla="*/ 9404 w 9498"/>
              <a:gd name="connsiteY2" fmla="*/ 10000 h 10021"/>
              <a:gd name="connsiteX3" fmla="*/ 3918 w 9498"/>
              <a:gd name="connsiteY3" fmla="*/ 10021 h 10021"/>
              <a:gd name="connsiteX4" fmla="*/ 0 w 9498"/>
              <a:gd name="connsiteY4" fmla="*/ 21 h 10021"/>
              <a:gd name="connsiteX0" fmla="*/ 0 w 10000"/>
              <a:gd name="connsiteY0" fmla="*/ 0 h 9979"/>
              <a:gd name="connsiteX1" fmla="*/ 10000 w 10000"/>
              <a:gd name="connsiteY1" fmla="*/ 26 h 9979"/>
              <a:gd name="connsiteX2" fmla="*/ 9901 w 10000"/>
              <a:gd name="connsiteY2" fmla="*/ 9958 h 9979"/>
              <a:gd name="connsiteX3" fmla="*/ 4125 w 10000"/>
              <a:gd name="connsiteY3" fmla="*/ 9979 h 9979"/>
              <a:gd name="connsiteX4" fmla="*/ 0 w 10000"/>
              <a:gd name="connsiteY4" fmla="*/ 0 h 9979"/>
              <a:gd name="connsiteX0" fmla="*/ 0 w 10000"/>
              <a:gd name="connsiteY0" fmla="*/ 0 h 10000"/>
              <a:gd name="connsiteX1" fmla="*/ 10000 w 10000"/>
              <a:gd name="connsiteY1" fmla="*/ 10 h 10000"/>
              <a:gd name="connsiteX2" fmla="*/ 9901 w 10000"/>
              <a:gd name="connsiteY2" fmla="*/ 9979 h 10000"/>
              <a:gd name="connsiteX3" fmla="*/ 4125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9985"/>
              <a:gd name="connsiteX1" fmla="*/ 10000 w 10000"/>
              <a:gd name="connsiteY1" fmla="*/ 10 h 9985"/>
              <a:gd name="connsiteX2" fmla="*/ 9901 w 10000"/>
              <a:gd name="connsiteY2" fmla="*/ 9979 h 9985"/>
              <a:gd name="connsiteX3" fmla="*/ 4125 w 10000"/>
              <a:gd name="connsiteY3" fmla="*/ 9985 h 9985"/>
              <a:gd name="connsiteX4" fmla="*/ 0 w 10000"/>
              <a:gd name="connsiteY4" fmla="*/ 0 h 9985"/>
              <a:gd name="connsiteX0" fmla="*/ 0 w 10000"/>
              <a:gd name="connsiteY0" fmla="*/ 0 h 9994"/>
              <a:gd name="connsiteX1" fmla="*/ 10000 w 10000"/>
              <a:gd name="connsiteY1" fmla="*/ 10 h 9994"/>
              <a:gd name="connsiteX2" fmla="*/ 9901 w 10000"/>
              <a:gd name="connsiteY2" fmla="*/ 9994 h 9994"/>
              <a:gd name="connsiteX3" fmla="*/ 4125 w 10000"/>
              <a:gd name="connsiteY3" fmla="*/ 9970 h 9994"/>
              <a:gd name="connsiteX4" fmla="*/ 0 w 10000"/>
              <a:gd name="connsiteY4" fmla="*/ 0 h 9994"/>
              <a:gd name="connsiteX0" fmla="*/ 0 w 10000"/>
              <a:gd name="connsiteY0" fmla="*/ 0 h 10022"/>
              <a:gd name="connsiteX1" fmla="*/ 10000 w 10000"/>
              <a:gd name="connsiteY1" fmla="*/ 10 h 10022"/>
              <a:gd name="connsiteX2" fmla="*/ 9901 w 10000"/>
              <a:gd name="connsiteY2" fmla="*/ 10000 h 10022"/>
              <a:gd name="connsiteX3" fmla="*/ 3965 w 10000"/>
              <a:gd name="connsiteY3" fmla="*/ 10022 h 10022"/>
              <a:gd name="connsiteX4" fmla="*/ 0 w 10000"/>
              <a:gd name="connsiteY4" fmla="*/ 0 h 10022"/>
              <a:gd name="connsiteX0" fmla="*/ 0 w 10000"/>
              <a:gd name="connsiteY0" fmla="*/ 0 h 10022"/>
              <a:gd name="connsiteX1" fmla="*/ 10000 w 10000"/>
              <a:gd name="connsiteY1" fmla="*/ 10 h 10022"/>
              <a:gd name="connsiteX2" fmla="*/ 9292 w 10000"/>
              <a:gd name="connsiteY2" fmla="*/ 9985 h 10022"/>
              <a:gd name="connsiteX3" fmla="*/ 3965 w 10000"/>
              <a:gd name="connsiteY3" fmla="*/ 10022 h 10022"/>
              <a:gd name="connsiteX4" fmla="*/ 0 w 10000"/>
              <a:gd name="connsiteY4" fmla="*/ 0 h 10022"/>
              <a:gd name="connsiteX0" fmla="*/ 0 w 10000"/>
              <a:gd name="connsiteY0" fmla="*/ 0 h 10022"/>
              <a:gd name="connsiteX1" fmla="*/ 10000 w 10000"/>
              <a:gd name="connsiteY1" fmla="*/ 10 h 10022"/>
              <a:gd name="connsiteX2" fmla="*/ 9292 w 10000"/>
              <a:gd name="connsiteY2" fmla="*/ 10000 h 10022"/>
              <a:gd name="connsiteX3" fmla="*/ 3965 w 10000"/>
              <a:gd name="connsiteY3" fmla="*/ 10022 h 10022"/>
              <a:gd name="connsiteX4" fmla="*/ 0 w 10000"/>
              <a:gd name="connsiteY4" fmla="*/ 0 h 10022"/>
              <a:gd name="connsiteX0" fmla="*/ 0 w 9293"/>
              <a:gd name="connsiteY0" fmla="*/ 0 h 10022"/>
              <a:gd name="connsiteX1" fmla="*/ 8814 w 9293"/>
              <a:gd name="connsiteY1" fmla="*/ 329 h 10022"/>
              <a:gd name="connsiteX2" fmla="*/ 9292 w 9293"/>
              <a:gd name="connsiteY2" fmla="*/ 10000 h 10022"/>
              <a:gd name="connsiteX3" fmla="*/ 3965 w 9293"/>
              <a:gd name="connsiteY3" fmla="*/ 10022 h 10022"/>
              <a:gd name="connsiteX4" fmla="*/ 0 w 9293"/>
              <a:gd name="connsiteY4" fmla="*/ 0 h 10022"/>
              <a:gd name="connsiteX0" fmla="*/ 0 w 10009"/>
              <a:gd name="connsiteY0" fmla="*/ 20 h 10020"/>
              <a:gd name="connsiteX1" fmla="*/ 10003 w 10009"/>
              <a:gd name="connsiteY1" fmla="*/ 0 h 10020"/>
              <a:gd name="connsiteX2" fmla="*/ 9999 w 10009"/>
              <a:gd name="connsiteY2" fmla="*/ 9998 h 10020"/>
              <a:gd name="connsiteX3" fmla="*/ 4267 w 10009"/>
              <a:gd name="connsiteY3" fmla="*/ 10020 h 10020"/>
              <a:gd name="connsiteX4" fmla="*/ 0 w 10009"/>
              <a:gd name="connsiteY4" fmla="*/ 20 h 10020"/>
              <a:gd name="connsiteX0" fmla="*/ 0 w 10003"/>
              <a:gd name="connsiteY0" fmla="*/ 20 h 10020"/>
              <a:gd name="connsiteX1" fmla="*/ 10003 w 10003"/>
              <a:gd name="connsiteY1" fmla="*/ 0 h 10020"/>
              <a:gd name="connsiteX2" fmla="*/ 9792 w 10003"/>
              <a:gd name="connsiteY2" fmla="*/ 9937 h 10020"/>
              <a:gd name="connsiteX3" fmla="*/ 4267 w 10003"/>
              <a:gd name="connsiteY3" fmla="*/ 10020 h 10020"/>
              <a:gd name="connsiteX4" fmla="*/ 0 w 10003"/>
              <a:gd name="connsiteY4" fmla="*/ 20 h 10020"/>
              <a:gd name="connsiteX0" fmla="*/ 0 w 10041"/>
              <a:gd name="connsiteY0" fmla="*/ 20 h 10020"/>
              <a:gd name="connsiteX1" fmla="*/ 10003 w 10041"/>
              <a:gd name="connsiteY1" fmla="*/ 0 h 10020"/>
              <a:gd name="connsiteX2" fmla="*/ 10034 w 10041"/>
              <a:gd name="connsiteY2" fmla="*/ 10013 h 10020"/>
              <a:gd name="connsiteX3" fmla="*/ 4267 w 10041"/>
              <a:gd name="connsiteY3" fmla="*/ 10020 h 10020"/>
              <a:gd name="connsiteX4" fmla="*/ 0 w 10041"/>
              <a:gd name="connsiteY4" fmla="*/ 20 h 10020"/>
              <a:gd name="connsiteX0" fmla="*/ 0 w 10041"/>
              <a:gd name="connsiteY0" fmla="*/ 20 h 10013"/>
              <a:gd name="connsiteX1" fmla="*/ 10003 w 10041"/>
              <a:gd name="connsiteY1" fmla="*/ 0 h 10013"/>
              <a:gd name="connsiteX2" fmla="*/ 10034 w 10041"/>
              <a:gd name="connsiteY2" fmla="*/ 10013 h 10013"/>
              <a:gd name="connsiteX3" fmla="*/ 4198 w 10041"/>
              <a:gd name="connsiteY3" fmla="*/ 10005 h 10013"/>
              <a:gd name="connsiteX4" fmla="*/ 0 w 10041"/>
              <a:gd name="connsiteY4" fmla="*/ 20 h 10013"/>
              <a:gd name="connsiteX0" fmla="*/ 0 w 10041"/>
              <a:gd name="connsiteY0" fmla="*/ 5 h 10013"/>
              <a:gd name="connsiteX1" fmla="*/ 10003 w 10041"/>
              <a:gd name="connsiteY1" fmla="*/ 0 h 10013"/>
              <a:gd name="connsiteX2" fmla="*/ 10034 w 10041"/>
              <a:gd name="connsiteY2" fmla="*/ 10013 h 10013"/>
              <a:gd name="connsiteX3" fmla="*/ 4198 w 10041"/>
              <a:gd name="connsiteY3" fmla="*/ 10005 h 10013"/>
              <a:gd name="connsiteX4" fmla="*/ 0 w 10041"/>
              <a:gd name="connsiteY4" fmla="*/ 5 h 10013"/>
              <a:gd name="connsiteX0" fmla="*/ 0 w 10041"/>
              <a:gd name="connsiteY0" fmla="*/ 0 h 10023"/>
              <a:gd name="connsiteX1" fmla="*/ 10003 w 10041"/>
              <a:gd name="connsiteY1" fmla="*/ 10 h 10023"/>
              <a:gd name="connsiteX2" fmla="*/ 10034 w 10041"/>
              <a:gd name="connsiteY2" fmla="*/ 10023 h 10023"/>
              <a:gd name="connsiteX3" fmla="*/ 4198 w 10041"/>
              <a:gd name="connsiteY3" fmla="*/ 10015 h 10023"/>
              <a:gd name="connsiteX4" fmla="*/ 0 w 10041"/>
              <a:gd name="connsiteY4" fmla="*/ 0 h 10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1" h="10023">
                <a:moveTo>
                  <a:pt x="0" y="0"/>
                </a:moveTo>
                <a:lnTo>
                  <a:pt x="10003" y="10"/>
                </a:lnTo>
                <a:cubicBezTo>
                  <a:pt x="9967" y="3343"/>
                  <a:pt x="10069" y="6690"/>
                  <a:pt x="10034" y="10023"/>
                </a:cubicBezTo>
                <a:lnTo>
                  <a:pt x="4198" y="10015"/>
                </a:lnTo>
                <a:cubicBezTo>
                  <a:pt x="5951" y="4526"/>
                  <a:pt x="1480" y="3333"/>
                  <a:pt x="0" y="0"/>
                </a:cubicBezTo>
                <a:close/>
              </a:path>
            </a:pathLst>
          </a:custGeom>
          <a:solidFill>
            <a:srgbClr val="00306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74805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39725" y="1263650"/>
            <a:ext cx="11014075" cy="5048250"/>
          </a:xfrm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MX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047" y="365125"/>
            <a:ext cx="11014753" cy="63146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es-MX" sz="1800" b="1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eaLnBrk="0" fontAlgn="base" hangingPunct="0">
              <a:spcAft>
                <a:spcPct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endParaRPr lang="es-MX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5770" y="6311900"/>
            <a:ext cx="12223539" cy="54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662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rgbClr val="0030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4374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9810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046" y="365125"/>
            <a:ext cx="11233154" cy="63146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es-MX" sz="1800" b="1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eaLnBrk="0" fontAlgn="base" hangingPunct="0">
              <a:spcAft>
                <a:spcPct val="0"/>
              </a:spcAft>
              <a:buClrTx/>
              <a:buSzTx/>
              <a:buFontTx/>
              <a:tabLst/>
            </a:pPr>
            <a:r>
              <a:rPr lang="en-US" dirty="0"/>
              <a:t>Click to edit Master title style</a:t>
            </a:r>
            <a:endParaRPr lang="es-MX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5770" y="6311900"/>
            <a:ext cx="12223539" cy="5461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9046" y="1118831"/>
            <a:ext cx="5400000" cy="823912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9046" y="1942743"/>
            <a:ext cx="5400000" cy="4246920"/>
          </a:xfrm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118831"/>
            <a:ext cx="5400000" cy="823912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1942743"/>
            <a:ext cx="5400000" cy="4246920"/>
          </a:xfrm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880032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047" y="365125"/>
            <a:ext cx="11014753" cy="63146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kumimoji="0" lang="es-MX" sz="1800" b="1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eaLnBrk="0" fontAlgn="base" hangingPunct="0">
              <a:spcAft>
                <a:spcPct val="0"/>
              </a:spcAft>
            </a:pPr>
            <a:r>
              <a:rPr lang="en-US"/>
              <a:t>Click to edit Master title style</a:t>
            </a:r>
            <a:endParaRPr lang="es-MX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5770" y="6311900"/>
            <a:ext cx="12223539" cy="54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596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9163050" y="6554788"/>
            <a:ext cx="2674938" cy="1793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s-MX" sz="1764" dirty="0">
              <a:solidFill>
                <a:srgbClr val="FFFFFF"/>
              </a:solidFill>
            </a:endParaRPr>
          </a:p>
        </p:txBody>
      </p:sp>
      <p:pic>
        <p:nvPicPr>
          <p:cNvPr id="4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38888"/>
            <a:ext cx="12192000" cy="528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s-MX" dirty="0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515938" y="6540500"/>
            <a:ext cx="376237" cy="144463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901DBC14-591D-42DC-869C-28A9B554F644}" type="slidenum">
              <a:rPr lang="en-US" altLang="es-MX"/>
              <a:pPr>
                <a:defRPr/>
              </a:pPr>
              <a:t>‹Nº›</a:t>
            </a:fld>
            <a:endParaRPr lang="en-US" altLang="es-MX" dirty="0"/>
          </a:p>
        </p:txBody>
      </p:sp>
    </p:spTree>
    <p:extLst>
      <p:ext uri="{BB962C8B-B14F-4D97-AF65-F5344CB8AC3E}">
        <p14:creationId xmlns:p14="http://schemas.microsoft.com/office/powerpoint/2010/main" val="2940562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7727390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9BFEF6-2FFD-4373-82C6-134C5A6158AE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589272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7" r:id="rId2"/>
    <p:sldLayoutId id="2147483650" r:id="rId3"/>
    <p:sldLayoutId id="2147483651" r:id="rId4"/>
    <p:sldLayoutId id="2147483660" r:id="rId5"/>
    <p:sldLayoutId id="2147483653" r:id="rId6"/>
    <p:sldLayoutId id="2147483655" r:id="rId7"/>
    <p:sldLayoutId id="2147483668" r:id="rId8"/>
    <p:sldLayoutId id="2147483669" r:id="rId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06245" y="2442500"/>
            <a:ext cx="7103905" cy="1325563"/>
          </a:xfrm>
        </p:spPr>
        <p:txBody>
          <a:bodyPr>
            <a:normAutofit/>
          </a:bodyPr>
          <a:lstStyle/>
          <a:p>
            <a:pPr algn="r"/>
            <a:r>
              <a:rPr lang="es-MX" dirty="0"/>
              <a:t>Temáticas posibles para el proyecto fin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7097054" y="5898704"/>
            <a:ext cx="4759325" cy="834303"/>
          </a:xfrm>
        </p:spPr>
        <p:txBody>
          <a:bodyPr/>
          <a:lstStyle/>
          <a:p>
            <a:pPr marL="0" indent="0" algn="r">
              <a:buNone/>
            </a:pPr>
            <a:r>
              <a:rPr lang="es-MX" dirty="0"/>
              <a:t>Junio, 2023</a:t>
            </a:r>
          </a:p>
        </p:txBody>
      </p:sp>
    </p:spTree>
    <p:extLst>
      <p:ext uri="{BB962C8B-B14F-4D97-AF65-F5344CB8AC3E}">
        <p14:creationId xmlns:p14="http://schemas.microsoft.com/office/powerpoint/2010/main" val="11066015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Objetivo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2387114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9107"/>
            <a:r>
              <a:rPr lang="es-MX" sz="18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tivos</a:t>
            </a:r>
          </a:p>
        </p:txBody>
      </p:sp>
      <p:sp>
        <p:nvSpPr>
          <p:cNvPr id="55" name="Content Placeholder 17"/>
          <p:cNvSpPr>
            <a:spLocks noGrp="1"/>
          </p:cNvSpPr>
          <p:nvPr>
            <p:ph idx="4294967295"/>
          </p:nvPr>
        </p:nvSpPr>
        <p:spPr>
          <a:xfrm>
            <a:off x="1178804" y="1407140"/>
            <a:ext cx="10209631" cy="761845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es-MX" sz="2400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mprender el funcionamiento del lenguaje SQL. Ser capaz de crear, modificar, administrar y gestionar bases de datos un RDMS</a:t>
            </a:r>
            <a:endParaRPr lang="es-MX" sz="2400" dirty="0">
              <a:latin typeface="+mj-lt"/>
            </a:endParaRPr>
          </a:p>
        </p:txBody>
      </p:sp>
      <p:sp>
        <p:nvSpPr>
          <p:cNvPr id="56" name="Text Placeholder 5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9900" y="1013703"/>
            <a:ext cx="2698748" cy="293410"/>
          </a:xfrm>
          <a:prstGeom prst="rect">
            <a:avLst/>
          </a:prstGeom>
        </p:spPr>
        <p:txBody>
          <a:bodyPr vert="horz" wrap="square" lIns="77212" tIns="38606" rIns="77212" bIns="38606" rtlCol="0">
            <a:spAutoFit/>
          </a:bodyPr>
          <a:lstStyle>
            <a:lvl1pPr marL="156838" marR="0" indent="-156838" algn="l" defTabSz="8605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53"/>
              </a:spcAft>
              <a:buClrTx/>
              <a:buSzTx/>
              <a:buFont typeface="Arial" pitchFamily="34" charset="0"/>
              <a:buChar char="•"/>
              <a:tabLst/>
              <a:defRPr lang="en-US" sz="16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56838" marR="0" indent="-156838" algn="l" defTabSz="8605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53"/>
              </a:spcAft>
              <a:buClrTx/>
              <a:buSzTx/>
              <a:buFont typeface="Arial" pitchFamily="34" charset="0"/>
              <a:buChar char="•"/>
              <a:tabLst/>
              <a:defRPr lang="en-US" sz="21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36463" marR="0" indent="-164880" algn="l" defTabSz="8605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53"/>
              </a:spcAft>
              <a:buClrTx/>
              <a:buSzTx/>
              <a:buFont typeface="Arial" pitchFamily="34" charset="0"/>
              <a:buChar char="‒"/>
              <a:tabLst/>
              <a:defRPr lang="en-US" sz="1600" kern="1200" dirty="0" smtClean="0">
                <a:solidFill>
                  <a:srgbClr val="002776"/>
                </a:solidFill>
                <a:latin typeface="+mn-lt"/>
                <a:ea typeface="+mj-ea"/>
                <a:cs typeface="+mj-cs"/>
              </a:defRPr>
            </a:lvl3pPr>
            <a:lvl4pPr marL="508045" marR="0" indent="-171582" algn="l" defTabSz="8605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07"/>
              </a:spcAft>
              <a:buClrTx/>
              <a:buSzTx/>
              <a:buFont typeface="Arial" pitchFamily="34" charset="0"/>
              <a:buChar char="•"/>
              <a:tabLst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670244" marR="0" indent="-162200" algn="l" defTabSz="8605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07"/>
              </a:spcAft>
              <a:buClrTx/>
              <a:buSzTx/>
              <a:buFont typeface="Arial" pitchFamily="34" charset="0"/>
              <a:buChar char="‒"/>
              <a:tabLst/>
              <a:defRPr lang="en-GB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756035" indent="-154156" algn="l" defTabSz="772121" rtl="0" eaLnBrk="1" latinLnBrk="0" hangingPunct="1">
              <a:spcBef>
                <a:spcPts val="0"/>
              </a:spcBef>
              <a:spcAft>
                <a:spcPts val="253"/>
              </a:spcAft>
              <a:buFont typeface="Arial" pitchFamily="34" charset="0"/>
              <a:buChar char="•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911532" indent="-155497" algn="l" defTabSz="772121" rtl="0" eaLnBrk="1" latinLnBrk="0" hangingPunct="1">
              <a:spcBef>
                <a:spcPts val="0"/>
              </a:spcBef>
              <a:spcAft>
                <a:spcPts val="253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057646" indent="-146114" algn="l" defTabSz="772121" rtl="0" eaLnBrk="1" latinLnBrk="0" hangingPunct="1">
              <a:spcBef>
                <a:spcPts val="0"/>
              </a:spcBef>
              <a:spcAft>
                <a:spcPts val="253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211801" indent="-154156" algn="l" defTabSz="772121" rtl="0" eaLnBrk="1" latinLnBrk="0" hangingPunct="1">
              <a:spcBef>
                <a:spcPts val="0"/>
              </a:spcBef>
              <a:spcAft>
                <a:spcPts val="253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bjetivo general:</a:t>
            </a:r>
          </a:p>
        </p:txBody>
      </p:sp>
      <p:sp>
        <p:nvSpPr>
          <p:cNvPr id="57" name="Text Placeholder 5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69900" y="2869875"/>
            <a:ext cx="2698748" cy="293410"/>
          </a:xfrm>
          <a:prstGeom prst="rect">
            <a:avLst/>
          </a:prstGeom>
        </p:spPr>
        <p:txBody>
          <a:bodyPr vert="horz" wrap="square" lIns="77212" tIns="38606" rIns="77212" bIns="38606" rtlCol="0">
            <a:spAutoFit/>
          </a:bodyPr>
          <a:lstStyle>
            <a:lvl1pPr marL="156838" marR="0" indent="-156838" algn="l" defTabSz="8605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53"/>
              </a:spcAft>
              <a:buClrTx/>
              <a:buSzTx/>
              <a:buFont typeface="Arial" pitchFamily="34" charset="0"/>
              <a:buChar char="•"/>
              <a:tabLst/>
              <a:defRPr lang="en-US" sz="16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56838" marR="0" indent="-156838" algn="l" defTabSz="8605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53"/>
              </a:spcAft>
              <a:buClrTx/>
              <a:buSzTx/>
              <a:buFont typeface="Arial" pitchFamily="34" charset="0"/>
              <a:buChar char="•"/>
              <a:tabLst/>
              <a:defRPr lang="en-US" sz="21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36463" marR="0" indent="-164880" algn="l" defTabSz="8605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53"/>
              </a:spcAft>
              <a:buClrTx/>
              <a:buSzTx/>
              <a:buFont typeface="Arial" pitchFamily="34" charset="0"/>
              <a:buChar char="‒"/>
              <a:tabLst/>
              <a:defRPr lang="en-US" sz="1600" kern="1200" dirty="0" smtClean="0">
                <a:solidFill>
                  <a:srgbClr val="002776"/>
                </a:solidFill>
                <a:latin typeface="+mn-lt"/>
                <a:ea typeface="+mj-ea"/>
                <a:cs typeface="+mj-cs"/>
              </a:defRPr>
            </a:lvl3pPr>
            <a:lvl4pPr marL="508045" marR="0" indent="-171582" algn="l" defTabSz="8605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07"/>
              </a:spcAft>
              <a:buClrTx/>
              <a:buSzTx/>
              <a:buFont typeface="Arial" pitchFamily="34" charset="0"/>
              <a:buChar char="•"/>
              <a:tabLst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670244" marR="0" indent="-162200" algn="l" defTabSz="8605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07"/>
              </a:spcAft>
              <a:buClrTx/>
              <a:buSzTx/>
              <a:buFont typeface="Arial" pitchFamily="34" charset="0"/>
              <a:buChar char="‒"/>
              <a:tabLst/>
              <a:defRPr lang="en-GB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756035" indent="-154156" algn="l" defTabSz="772121" rtl="0" eaLnBrk="1" latinLnBrk="0" hangingPunct="1">
              <a:spcBef>
                <a:spcPts val="0"/>
              </a:spcBef>
              <a:spcAft>
                <a:spcPts val="253"/>
              </a:spcAft>
              <a:buFont typeface="Arial" pitchFamily="34" charset="0"/>
              <a:buChar char="•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911532" indent="-155497" algn="l" defTabSz="772121" rtl="0" eaLnBrk="1" latinLnBrk="0" hangingPunct="1">
              <a:spcBef>
                <a:spcPts val="0"/>
              </a:spcBef>
              <a:spcAft>
                <a:spcPts val="253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057646" indent="-146114" algn="l" defTabSz="772121" rtl="0" eaLnBrk="1" latinLnBrk="0" hangingPunct="1">
              <a:spcBef>
                <a:spcPts val="0"/>
              </a:spcBef>
              <a:spcAft>
                <a:spcPts val="253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211801" indent="-154156" algn="l" defTabSz="772121" rtl="0" eaLnBrk="1" latinLnBrk="0" hangingPunct="1">
              <a:spcBef>
                <a:spcPts val="0"/>
              </a:spcBef>
              <a:spcAft>
                <a:spcPts val="253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bjetivos específicos :</a:t>
            </a:r>
          </a:p>
        </p:txBody>
      </p:sp>
      <p:sp>
        <p:nvSpPr>
          <p:cNvPr id="58" name="Freeform 723"/>
          <p:cNvSpPr>
            <a:spLocks noChangeAspect="1" noEditPoints="1"/>
          </p:cNvSpPr>
          <p:nvPr/>
        </p:nvSpPr>
        <p:spPr bwMode="auto">
          <a:xfrm>
            <a:off x="443878" y="1615769"/>
            <a:ext cx="566280" cy="566280"/>
          </a:xfrm>
          <a:custGeom>
            <a:avLst/>
            <a:gdLst>
              <a:gd name="T0" fmla="*/ 248 w 512"/>
              <a:gd name="T1" fmla="*/ 263 h 512"/>
              <a:gd name="T2" fmla="*/ 263 w 512"/>
              <a:gd name="T3" fmla="*/ 263 h 512"/>
              <a:gd name="T4" fmla="*/ 288 w 512"/>
              <a:gd name="T5" fmla="*/ 256 h 512"/>
              <a:gd name="T6" fmla="*/ 224 w 512"/>
              <a:gd name="T7" fmla="*/ 256 h 512"/>
              <a:gd name="T8" fmla="*/ 269 w 512"/>
              <a:gd name="T9" fmla="*/ 227 h 512"/>
              <a:gd name="T10" fmla="*/ 331 w 512"/>
              <a:gd name="T11" fmla="*/ 196 h 512"/>
              <a:gd name="T12" fmla="*/ 256 w 512"/>
              <a:gd name="T13" fmla="*/ 352 h 512"/>
              <a:gd name="T14" fmla="*/ 256 w 512"/>
              <a:gd name="T15" fmla="*/ 160 h 512"/>
              <a:gd name="T16" fmla="*/ 331 w 512"/>
              <a:gd name="T17" fmla="*/ 166 h 512"/>
              <a:gd name="T18" fmla="*/ 138 w 512"/>
              <a:gd name="T19" fmla="*/ 256 h 512"/>
              <a:gd name="T20" fmla="*/ 373 w 512"/>
              <a:gd name="T21" fmla="*/ 256 h 512"/>
              <a:gd name="T22" fmla="*/ 331 w 512"/>
              <a:gd name="T23" fmla="*/ 196 h 512"/>
              <a:gd name="T24" fmla="*/ 181 w 512"/>
              <a:gd name="T25" fmla="*/ 256 h 512"/>
              <a:gd name="T26" fmla="*/ 330 w 512"/>
              <a:gd name="T27" fmla="*/ 256 h 512"/>
              <a:gd name="T28" fmla="*/ 300 w 512"/>
              <a:gd name="T29" fmla="*/ 226 h 512"/>
              <a:gd name="T30" fmla="*/ 256 w 512"/>
              <a:gd name="T31" fmla="*/ 309 h 512"/>
              <a:gd name="T32" fmla="*/ 256 w 512"/>
              <a:gd name="T33" fmla="*/ 202 h 512"/>
              <a:gd name="T34" fmla="*/ 300 w 512"/>
              <a:gd name="T35" fmla="*/ 196 h 512"/>
              <a:gd name="T36" fmla="*/ 512 w 512"/>
              <a:gd name="T37" fmla="*/ 256 h 512"/>
              <a:gd name="T38" fmla="*/ 0 w 512"/>
              <a:gd name="T39" fmla="*/ 256 h 512"/>
              <a:gd name="T40" fmla="*/ 512 w 512"/>
              <a:gd name="T41" fmla="*/ 256 h 512"/>
              <a:gd name="T42" fmla="*/ 394 w 512"/>
              <a:gd name="T43" fmla="*/ 138 h 512"/>
              <a:gd name="T44" fmla="*/ 373 w 512"/>
              <a:gd name="T45" fmla="*/ 117 h 512"/>
              <a:gd name="T46" fmla="*/ 352 w 512"/>
              <a:gd name="T47" fmla="*/ 117 h 512"/>
              <a:gd name="T48" fmla="*/ 346 w 512"/>
              <a:gd name="T49" fmla="*/ 150 h 512"/>
              <a:gd name="T50" fmla="*/ 117 w 512"/>
              <a:gd name="T51" fmla="*/ 256 h 512"/>
              <a:gd name="T52" fmla="*/ 141 w 512"/>
              <a:gd name="T53" fmla="*/ 376 h 512"/>
              <a:gd name="T54" fmla="*/ 149 w 512"/>
              <a:gd name="T55" fmla="*/ 394 h 512"/>
              <a:gd name="T56" fmla="*/ 178 w 512"/>
              <a:gd name="T57" fmla="*/ 370 h 512"/>
              <a:gd name="T58" fmla="*/ 334 w 512"/>
              <a:gd name="T59" fmla="*/ 370 h 512"/>
              <a:gd name="T60" fmla="*/ 362 w 512"/>
              <a:gd name="T61" fmla="*/ 394 h 512"/>
              <a:gd name="T62" fmla="*/ 370 w 512"/>
              <a:gd name="T63" fmla="*/ 376 h 512"/>
              <a:gd name="T64" fmla="*/ 394 w 512"/>
              <a:gd name="T65" fmla="*/ 256 h 512"/>
              <a:gd name="T66" fmla="*/ 367 w 512"/>
              <a:gd name="T67" fmla="*/ 160 h 512"/>
              <a:gd name="T68" fmla="*/ 405 w 512"/>
              <a:gd name="T69" fmla="*/ 14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48" y="248"/>
                </a:moveTo>
                <a:cubicBezTo>
                  <a:pt x="244" y="252"/>
                  <a:pt x="244" y="259"/>
                  <a:pt x="248" y="263"/>
                </a:cubicBezTo>
                <a:cubicBezTo>
                  <a:pt x="250" y="265"/>
                  <a:pt x="253" y="266"/>
                  <a:pt x="256" y="266"/>
                </a:cubicBezTo>
                <a:cubicBezTo>
                  <a:pt x="258" y="266"/>
                  <a:pt x="261" y="265"/>
                  <a:pt x="263" y="263"/>
                </a:cubicBezTo>
                <a:cubicBezTo>
                  <a:pt x="284" y="242"/>
                  <a:pt x="284" y="242"/>
                  <a:pt x="284" y="242"/>
                </a:cubicBezTo>
                <a:cubicBezTo>
                  <a:pt x="286" y="246"/>
                  <a:pt x="288" y="251"/>
                  <a:pt x="288" y="256"/>
                </a:cubicBezTo>
                <a:cubicBezTo>
                  <a:pt x="288" y="273"/>
                  <a:pt x="273" y="288"/>
                  <a:pt x="256" y="288"/>
                </a:cubicBezTo>
                <a:cubicBezTo>
                  <a:pt x="238" y="288"/>
                  <a:pt x="224" y="273"/>
                  <a:pt x="224" y="256"/>
                </a:cubicBezTo>
                <a:cubicBezTo>
                  <a:pt x="224" y="238"/>
                  <a:pt x="238" y="224"/>
                  <a:pt x="256" y="224"/>
                </a:cubicBezTo>
                <a:cubicBezTo>
                  <a:pt x="261" y="224"/>
                  <a:pt x="265" y="225"/>
                  <a:pt x="269" y="227"/>
                </a:cubicBezTo>
                <a:lnTo>
                  <a:pt x="248" y="248"/>
                </a:lnTo>
                <a:close/>
                <a:moveTo>
                  <a:pt x="331" y="196"/>
                </a:moveTo>
                <a:cubicBezTo>
                  <a:pt x="344" y="212"/>
                  <a:pt x="352" y="233"/>
                  <a:pt x="352" y="256"/>
                </a:cubicBezTo>
                <a:cubicBezTo>
                  <a:pt x="352" y="309"/>
                  <a:pt x="309" y="352"/>
                  <a:pt x="256" y="352"/>
                </a:cubicBezTo>
                <a:cubicBezTo>
                  <a:pt x="203" y="352"/>
                  <a:pt x="160" y="309"/>
                  <a:pt x="160" y="256"/>
                </a:cubicBezTo>
                <a:cubicBezTo>
                  <a:pt x="160" y="203"/>
                  <a:pt x="203" y="160"/>
                  <a:pt x="256" y="160"/>
                </a:cubicBezTo>
                <a:cubicBezTo>
                  <a:pt x="278" y="160"/>
                  <a:pt x="299" y="168"/>
                  <a:pt x="316" y="181"/>
                </a:cubicBezTo>
                <a:cubicBezTo>
                  <a:pt x="331" y="166"/>
                  <a:pt x="331" y="166"/>
                  <a:pt x="331" y="166"/>
                </a:cubicBezTo>
                <a:cubicBezTo>
                  <a:pt x="310" y="149"/>
                  <a:pt x="284" y="138"/>
                  <a:pt x="256" y="138"/>
                </a:cubicBezTo>
                <a:cubicBezTo>
                  <a:pt x="191" y="138"/>
                  <a:pt x="138" y="191"/>
                  <a:pt x="138" y="256"/>
                </a:cubicBezTo>
                <a:cubicBezTo>
                  <a:pt x="138" y="320"/>
                  <a:pt x="191" y="373"/>
                  <a:pt x="256" y="373"/>
                </a:cubicBezTo>
                <a:cubicBezTo>
                  <a:pt x="320" y="373"/>
                  <a:pt x="373" y="320"/>
                  <a:pt x="373" y="256"/>
                </a:cubicBezTo>
                <a:cubicBezTo>
                  <a:pt x="373" y="227"/>
                  <a:pt x="363" y="201"/>
                  <a:pt x="346" y="181"/>
                </a:cubicBezTo>
                <a:lnTo>
                  <a:pt x="331" y="196"/>
                </a:lnTo>
                <a:close/>
                <a:moveTo>
                  <a:pt x="256" y="181"/>
                </a:moveTo>
                <a:cubicBezTo>
                  <a:pt x="214" y="181"/>
                  <a:pt x="181" y="214"/>
                  <a:pt x="181" y="256"/>
                </a:cubicBezTo>
                <a:cubicBezTo>
                  <a:pt x="181" y="297"/>
                  <a:pt x="214" y="330"/>
                  <a:pt x="256" y="330"/>
                </a:cubicBezTo>
                <a:cubicBezTo>
                  <a:pt x="297" y="330"/>
                  <a:pt x="330" y="297"/>
                  <a:pt x="330" y="256"/>
                </a:cubicBezTo>
                <a:cubicBezTo>
                  <a:pt x="330" y="239"/>
                  <a:pt x="325" y="224"/>
                  <a:pt x="315" y="211"/>
                </a:cubicBezTo>
                <a:cubicBezTo>
                  <a:pt x="300" y="226"/>
                  <a:pt x="300" y="226"/>
                  <a:pt x="300" y="226"/>
                </a:cubicBezTo>
                <a:cubicBezTo>
                  <a:pt x="306" y="235"/>
                  <a:pt x="309" y="245"/>
                  <a:pt x="309" y="256"/>
                </a:cubicBezTo>
                <a:cubicBezTo>
                  <a:pt x="309" y="285"/>
                  <a:pt x="285" y="309"/>
                  <a:pt x="256" y="309"/>
                </a:cubicBezTo>
                <a:cubicBezTo>
                  <a:pt x="226" y="309"/>
                  <a:pt x="202" y="285"/>
                  <a:pt x="202" y="256"/>
                </a:cubicBezTo>
                <a:cubicBezTo>
                  <a:pt x="202" y="226"/>
                  <a:pt x="226" y="202"/>
                  <a:pt x="256" y="202"/>
                </a:cubicBezTo>
                <a:cubicBezTo>
                  <a:pt x="267" y="202"/>
                  <a:pt x="277" y="206"/>
                  <a:pt x="285" y="211"/>
                </a:cubicBezTo>
                <a:cubicBezTo>
                  <a:pt x="300" y="196"/>
                  <a:pt x="300" y="196"/>
                  <a:pt x="300" y="196"/>
                </a:cubicBezTo>
                <a:cubicBezTo>
                  <a:pt x="288" y="187"/>
                  <a:pt x="272" y="181"/>
                  <a:pt x="256" y="181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5" y="149"/>
                </a:moveTo>
                <a:cubicBezTo>
                  <a:pt x="405" y="143"/>
                  <a:pt x="400" y="138"/>
                  <a:pt x="394" y="138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373" y="117"/>
                  <a:pt x="373" y="117"/>
                  <a:pt x="373" y="117"/>
                </a:cubicBezTo>
                <a:cubicBezTo>
                  <a:pt x="373" y="111"/>
                  <a:pt x="368" y="106"/>
                  <a:pt x="362" y="106"/>
                </a:cubicBezTo>
                <a:cubicBezTo>
                  <a:pt x="356" y="106"/>
                  <a:pt x="352" y="111"/>
                  <a:pt x="352" y="117"/>
                </a:cubicBezTo>
                <a:cubicBezTo>
                  <a:pt x="352" y="145"/>
                  <a:pt x="352" y="145"/>
                  <a:pt x="352" y="145"/>
                </a:cubicBezTo>
                <a:cubicBezTo>
                  <a:pt x="346" y="150"/>
                  <a:pt x="346" y="150"/>
                  <a:pt x="346" y="150"/>
                </a:cubicBezTo>
                <a:cubicBezTo>
                  <a:pt x="322" y="130"/>
                  <a:pt x="290" y="117"/>
                  <a:pt x="256" y="117"/>
                </a:cubicBezTo>
                <a:cubicBezTo>
                  <a:pt x="179" y="117"/>
                  <a:pt x="117" y="179"/>
                  <a:pt x="117" y="256"/>
                </a:cubicBezTo>
                <a:cubicBezTo>
                  <a:pt x="117" y="295"/>
                  <a:pt x="134" y="331"/>
                  <a:pt x="161" y="357"/>
                </a:cubicBezTo>
                <a:cubicBezTo>
                  <a:pt x="141" y="376"/>
                  <a:pt x="141" y="376"/>
                  <a:pt x="141" y="376"/>
                </a:cubicBezTo>
                <a:cubicBezTo>
                  <a:pt x="137" y="380"/>
                  <a:pt x="137" y="387"/>
                  <a:pt x="141" y="391"/>
                </a:cubicBezTo>
                <a:cubicBezTo>
                  <a:pt x="144" y="393"/>
                  <a:pt x="146" y="394"/>
                  <a:pt x="149" y="394"/>
                </a:cubicBezTo>
                <a:cubicBezTo>
                  <a:pt x="152" y="394"/>
                  <a:pt x="154" y="393"/>
                  <a:pt x="157" y="391"/>
                </a:cubicBezTo>
                <a:cubicBezTo>
                  <a:pt x="178" y="370"/>
                  <a:pt x="178" y="370"/>
                  <a:pt x="178" y="370"/>
                </a:cubicBezTo>
                <a:cubicBezTo>
                  <a:pt x="200" y="385"/>
                  <a:pt x="227" y="394"/>
                  <a:pt x="256" y="394"/>
                </a:cubicBezTo>
                <a:cubicBezTo>
                  <a:pt x="285" y="394"/>
                  <a:pt x="311" y="385"/>
                  <a:pt x="334" y="370"/>
                </a:cubicBezTo>
                <a:cubicBezTo>
                  <a:pt x="355" y="391"/>
                  <a:pt x="355" y="391"/>
                  <a:pt x="355" y="391"/>
                </a:cubicBezTo>
                <a:cubicBezTo>
                  <a:pt x="357" y="393"/>
                  <a:pt x="360" y="394"/>
                  <a:pt x="362" y="394"/>
                </a:cubicBezTo>
                <a:cubicBezTo>
                  <a:pt x="365" y="394"/>
                  <a:pt x="368" y="393"/>
                  <a:pt x="370" y="391"/>
                </a:cubicBezTo>
                <a:cubicBezTo>
                  <a:pt x="374" y="387"/>
                  <a:pt x="374" y="380"/>
                  <a:pt x="370" y="376"/>
                </a:cubicBezTo>
                <a:cubicBezTo>
                  <a:pt x="350" y="357"/>
                  <a:pt x="350" y="357"/>
                  <a:pt x="350" y="357"/>
                </a:cubicBezTo>
                <a:cubicBezTo>
                  <a:pt x="377" y="331"/>
                  <a:pt x="394" y="295"/>
                  <a:pt x="394" y="256"/>
                </a:cubicBezTo>
                <a:cubicBezTo>
                  <a:pt x="394" y="221"/>
                  <a:pt x="382" y="190"/>
                  <a:pt x="361" y="166"/>
                </a:cubicBezTo>
                <a:cubicBezTo>
                  <a:pt x="367" y="160"/>
                  <a:pt x="367" y="160"/>
                  <a:pt x="367" y="160"/>
                </a:cubicBezTo>
                <a:cubicBezTo>
                  <a:pt x="394" y="160"/>
                  <a:pt x="394" y="160"/>
                  <a:pt x="394" y="160"/>
                </a:cubicBezTo>
                <a:cubicBezTo>
                  <a:pt x="400" y="160"/>
                  <a:pt x="405" y="155"/>
                  <a:pt x="405" y="149"/>
                </a:cubicBezTo>
                <a:close/>
              </a:path>
            </a:pathLst>
          </a:custGeom>
          <a:solidFill>
            <a:srgbClr val="00306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76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1" name="Rectangle 70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178805" y="3324073"/>
            <a:ext cx="10543296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marL="0" marR="0" lvl="1" indent="0" algn="l" defTabSz="1217613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86BC25"/>
              </a:buClr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Comprender el funcionamiento básico del lenguaje SQL</a:t>
            </a:r>
          </a:p>
        </p:txBody>
      </p:sp>
      <p:sp>
        <p:nvSpPr>
          <p:cNvPr id="73" name="Rectangle 7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178805" y="4035073"/>
            <a:ext cx="10543296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marL="0" marR="0" lvl="1" indent="0" algn="l" defTabSz="1217613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86BC25"/>
              </a:buClr>
              <a:buSzTx/>
              <a:buFontTx/>
              <a:buNone/>
              <a:tabLst/>
              <a:defRPr/>
            </a:pPr>
            <a:r>
              <a:rPr kumimoji="0" lang="es-MX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Crear la estructura, arquitectura</a:t>
            </a:r>
            <a:r>
              <a:rPr lang="es-MX" sz="1200" dirty="0">
                <a:latin typeface="+mj-lt"/>
              </a:rPr>
              <a:t>, Diagrama entidad-relación, tablas y relaciones de una base de datos</a:t>
            </a:r>
            <a:endParaRPr kumimoji="0" lang="es-MX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5" name="Rectangle 7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178805" y="4662373"/>
            <a:ext cx="10543296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marL="0" marR="0" lvl="1" indent="-150813" algn="l" defTabSz="121761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86BC25"/>
              </a:buClr>
              <a:buSzTx/>
              <a:buFontTx/>
              <a:buNone/>
              <a:tabLst/>
              <a:defRPr/>
            </a:pPr>
            <a:r>
              <a:rPr kumimoji="0" lang="es-MX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Desarrollar habilidades de modificación y gestión de la base de datos en SQL </a:t>
            </a:r>
            <a:endParaRPr kumimoji="0" lang="es-MX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8" name="Estrella: 5 puntas 7">
            <a:extLst>
              <a:ext uri="{FF2B5EF4-FFF2-40B4-BE49-F238E27FC236}">
                <a16:creationId xmlns:a16="http://schemas.microsoft.com/office/drawing/2014/main" id="{5D7D848F-1DD5-B6FD-EC1C-59E061E6E6B8}"/>
              </a:ext>
            </a:extLst>
          </p:cNvPr>
          <p:cNvSpPr/>
          <p:nvPr/>
        </p:nvSpPr>
        <p:spPr>
          <a:xfrm>
            <a:off x="533544" y="3390758"/>
            <a:ext cx="293742" cy="287369"/>
          </a:xfrm>
          <a:prstGeom prst="star5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9" name="Estrella: 5 puntas 8">
            <a:extLst>
              <a:ext uri="{FF2B5EF4-FFF2-40B4-BE49-F238E27FC236}">
                <a16:creationId xmlns:a16="http://schemas.microsoft.com/office/drawing/2014/main" id="{DAA214E3-D9B3-F099-9A3A-828F073C758B}"/>
              </a:ext>
            </a:extLst>
          </p:cNvPr>
          <p:cNvSpPr/>
          <p:nvPr/>
        </p:nvSpPr>
        <p:spPr>
          <a:xfrm>
            <a:off x="540262" y="4142412"/>
            <a:ext cx="293742" cy="287369"/>
          </a:xfrm>
          <a:prstGeom prst="star5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0" name="Estrella: 5 puntas 9">
            <a:extLst>
              <a:ext uri="{FF2B5EF4-FFF2-40B4-BE49-F238E27FC236}">
                <a16:creationId xmlns:a16="http://schemas.microsoft.com/office/drawing/2014/main" id="{7BFD1F74-8CB1-20EF-B460-4A6D61CCF021}"/>
              </a:ext>
            </a:extLst>
          </p:cNvPr>
          <p:cNvSpPr/>
          <p:nvPr/>
        </p:nvSpPr>
        <p:spPr>
          <a:xfrm>
            <a:off x="526302" y="4726047"/>
            <a:ext cx="293742" cy="287369"/>
          </a:xfrm>
          <a:prstGeom prst="star5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79669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Temáticas propuesta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5983195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9107"/>
            <a:r>
              <a:rPr lang="es-MX" sz="18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 propone la creación y análisis de dos bases de datos relacionadas con el deporte: </a:t>
            </a:r>
          </a:p>
        </p:txBody>
      </p:sp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DB4E695B-F0DD-B813-3D45-63132AB94210}"/>
              </a:ext>
            </a:extLst>
          </p:cNvPr>
          <p:cNvSpPr/>
          <p:nvPr/>
        </p:nvSpPr>
        <p:spPr>
          <a:xfrm>
            <a:off x="1245477" y="1304925"/>
            <a:ext cx="4445876" cy="4938219"/>
          </a:xfrm>
          <a:prstGeom prst="roundRect">
            <a:avLst/>
          </a:prstGeom>
          <a:solidFill>
            <a:srgbClr val="FBC18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s-MX" dirty="0">
                <a:solidFill>
                  <a:schemeClr val="tx1"/>
                </a:solidFill>
              </a:rPr>
              <a:t>Base de datos de carreras históricas de la fórmula 1, incluyendo entre otras cosas: </a:t>
            </a:r>
          </a:p>
          <a:p>
            <a:pPr marL="285750" indent="-285750" algn="ctr">
              <a:buFontTx/>
              <a:buChar char="-"/>
            </a:pPr>
            <a:r>
              <a:rPr lang="es-MX" dirty="0">
                <a:solidFill>
                  <a:schemeClr val="tx1"/>
                </a:solidFill>
              </a:rPr>
              <a:t>Tabla de conductores</a:t>
            </a:r>
          </a:p>
          <a:p>
            <a:pPr marL="285750" indent="-285750" algn="ctr">
              <a:buFontTx/>
              <a:buChar char="-"/>
            </a:pPr>
            <a:r>
              <a:rPr lang="es-MX" dirty="0">
                <a:solidFill>
                  <a:schemeClr val="tx1"/>
                </a:solidFill>
              </a:rPr>
              <a:t>Tabla de carreras</a:t>
            </a:r>
          </a:p>
          <a:p>
            <a:pPr marL="285750" indent="-285750" algn="ctr">
              <a:buFontTx/>
              <a:buChar char="-"/>
            </a:pPr>
            <a:r>
              <a:rPr lang="es-MX" dirty="0">
                <a:solidFill>
                  <a:schemeClr val="tx1"/>
                </a:solidFill>
              </a:rPr>
              <a:t> Tabla de circuitos</a:t>
            </a:r>
          </a:p>
          <a:p>
            <a:pPr marL="285750" indent="-285750" algn="ctr">
              <a:buFontTx/>
              <a:buChar char="-"/>
            </a:pPr>
            <a:r>
              <a:rPr lang="es-MX" dirty="0">
                <a:solidFill>
                  <a:schemeClr val="tx1"/>
                </a:solidFill>
              </a:rPr>
              <a:t>Tabla de conductores</a:t>
            </a:r>
          </a:p>
          <a:p>
            <a:pPr marL="285750" indent="-285750" algn="ctr">
              <a:buFontTx/>
              <a:buChar char="-"/>
            </a:pPr>
            <a:r>
              <a:rPr lang="es-MX" dirty="0">
                <a:solidFill>
                  <a:schemeClr val="tx1"/>
                </a:solidFill>
              </a:rPr>
              <a:t>Tabla de resultados</a:t>
            </a:r>
          </a:p>
          <a:p>
            <a:pPr marL="285750" indent="-285750" algn="ctr">
              <a:buFontTx/>
              <a:buChar char="-"/>
            </a:pPr>
            <a:r>
              <a:rPr lang="es-MX" dirty="0">
                <a:solidFill>
                  <a:schemeClr val="tx1"/>
                </a:solidFill>
              </a:rPr>
              <a:t>Tabla de temporadas</a:t>
            </a:r>
          </a:p>
          <a:p>
            <a:pPr marL="285750" indent="-285750" algn="ctr">
              <a:buFontTx/>
              <a:buChar char="-"/>
            </a:pPr>
            <a:endParaRPr lang="es-MX" dirty="0">
              <a:solidFill>
                <a:schemeClr val="tx1"/>
              </a:solidFill>
            </a:endParaRPr>
          </a:p>
          <a:p>
            <a:r>
              <a:rPr lang="es-MX" dirty="0">
                <a:solidFill>
                  <a:schemeClr val="tx1"/>
                </a:solidFill>
              </a:rPr>
              <a:t>Sería una base muy completa sobre la ‘historia en números de la F1’ </a:t>
            </a:r>
          </a:p>
          <a:p>
            <a:endParaRPr lang="es-MX" dirty="0">
              <a:solidFill>
                <a:schemeClr val="tx1"/>
              </a:solidFill>
            </a:endParaRPr>
          </a:p>
        </p:txBody>
      </p:sp>
      <p:sp>
        <p:nvSpPr>
          <p:cNvPr id="3" name="Rectangle 74">
            <a:extLst>
              <a:ext uri="{FF2B5EF4-FFF2-40B4-BE49-F238E27FC236}">
                <a16:creationId xmlns:a16="http://schemas.microsoft.com/office/drawing/2014/main" id="{5CBD9B29-EF66-2498-C177-0AE18EF101A1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862648" y="768807"/>
            <a:ext cx="1551696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marL="0" marR="0" lvl="1" indent="-150813" algn="ctr" defTabSz="121761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86BC25"/>
              </a:buClr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Formula 1 </a:t>
            </a:r>
            <a:endParaRPr kumimoji="0" lang="es-MX" sz="2000" b="1" i="0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DA45E641-E65A-EF8E-33EC-EE7F4B25FB06}"/>
              </a:ext>
            </a:extLst>
          </p:cNvPr>
          <p:cNvSpPr/>
          <p:nvPr/>
        </p:nvSpPr>
        <p:spPr>
          <a:xfrm>
            <a:off x="7106414" y="1272807"/>
            <a:ext cx="4445876" cy="4938219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>
                <a:solidFill>
                  <a:schemeClr val="tx1"/>
                </a:solidFill>
              </a:rPr>
              <a:t>Base de datos el mercado de fichajes de jugadores de futbol e incluirá tablas como: </a:t>
            </a:r>
          </a:p>
          <a:p>
            <a:pPr marL="285750" indent="-285750" algn="ctr">
              <a:buFontTx/>
              <a:buChar char="-"/>
            </a:pPr>
            <a:r>
              <a:rPr lang="es-MX" dirty="0">
                <a:solidFill>
                  <a:schemeClr val="tx1"/>
                </a:solidFill>
              </a:rPr>
              <a:t>Tabla de clubes</a:t>
            </a:r>
          </a:p>
          <a:p>
            <a:pPr marL="285750" indent="-285750" algn="ctr">
              <a:buFontTx/>
              <a:buChar char="-"/>
            </a:pPr>
            <a:r>
              <a:rPr lang="es-MX" dirty="0">
                <a:solidFill>
                  <a:schemeClr val="tx1"/>
                </a:solidFill>
              </a:rPr>
              <a:t>Tabla de juegos</a:t>
            </a:r>
          </a:p>
          <a:p>
            <a:pPr marL="285750" indent="-285750" algn="ctr">
              <a:buFontTx/>
              <a:buChar char="-"/>
            </a:pPr>
            <a:r>
              <a:rPr lang="es-MX" dirty="0">
                <a:solidFill>
                  <a:schemeClr val="tx1"/>
                </a:solidFill>
              </a:rPr>
              <a:t> Tabla de jugadores</a:t>
            </a:r>
          </a:p>
          <a:p>
            <a:pPr marL="285750" indent="-285750" algn="ctr">
              <a:buFontTx/>
              <a:buChar char="-"/>
            </a:pPr>
            <a:r>
              <a:rPr lang="es-MX" dirty="0">
                <a:solidFill>
                  <a:schemeClr val="tx1"/>
                </a:solidFill>
              </a:rPr>
              <a:t>Tabla de valore de jugadores</a:t>
            </a:r>
          </a:p>
          <a:p>
            <a:pPr marL="285750" indent="-285750" algn="ctr">
              <a:buFontTx/>
              <a:buChar char="-"/>
            </a:pPr>
            <a:endParaRPr lang="es-MX" dirty="0">
              <a:solidFill>
                <a:schemeClr val="tx1"/>
              </a:solidFill>
            </a:endParaRPr>
          </a:p>
          <a:p>
            <a:r>
              <a:rPr lang="es-MX" dirty="0">
                <a:solidFill>
                  <a:schemeClr val="tx1"/>
                </a:solidFill>
              </a:rPr>
              <a:t>Sería una base muy amplia sobre l}el precio de jugadores y las transacciones históricas </a:t>
            </a:r>
          </a:p>
          <a:p>
            <a:endParaRPr lang="es-MX" dirty="0">
              <a:solidFill>
                <a:schemeClr val="tx1"/>
              </a:solidFill>
            </a:endParaRPr>
          </a:p>
          <a:p>
            <a:pPr algn="ctr"/>
            <a:endParaRPr lang="es-MX" dirty="0"/>
          </a:p>
        </p:txBody>
      </p:sp>
      <p:sp>
        <p:nvSpPr>
          <p:cNvPr id="6" name="Rectangle 74">
            <a:extLst>
              <a:ext uri="{FF2B5EF4-FFF2-40B4-BE49-F238E27FC236}">
                <a16:creationId xmlns:a16="http://schemas.microsoft.com/office/drawing/2014/main" id="{C1FFE0F0-A647-FE00-6999-4E77A5A5314E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245366" y="736689"/>
            <a:ext cx="2029915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marL="0" marR="0" lvl="1" indent="-150813" algn="ctr" defTabSz="121761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86BC25"/>
              </a:buClr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Transfermarket</a:t>
            </a:r>
            <a:endParaRPr kumimoji="0" lang="es-MX" sz="2000" b="1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6997656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Mp6.V6EkGiVABNt0Cc1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Mp6.V6EkGiVABNt0Cc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QtaIsQMUuOWHmmal2a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QtaIsQMUuOWHmmal2a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QtaIsQMUuOWHmmal2a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QtaIsQMUuOWHmmal2a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QtaIsQMUuOWHmmal2ahA"/>
</p:tagLst>
</file>

<file path=ppt/theme/theme1.xml><?xml version="1.0" encoding="utf-8"?>
<a:theme xmlns:a="http://schemas.openxmlformats.org/drawingml/2006/main" name="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3063"/>
      </a:accent1>
      <a:accent2>
        <a:srgbClr val="FF2D2D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754</TotalTime>
  <Words>196</Words>
  <Application>Microsoft Office PowerPoint</Application>
  <PresentationFormat>Panorámica</PresentationFormat>
  <Paragraphs>32</Paragraphs>
  <Slides>5</Slides>
  <Notes>2</Notes>
  <HiddenSlides>0</HiddenSlides>
  <MMClips>0</MMClips>
  <ScaleCrop>false</ScaleCrop>
  <HeadingPairs>
    <vt:vector size="6" baseType="variant">
      <vt:variant>
        <vt:lpstr>Fue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8" baseType="lpstr">
      <vt:lpstr>Arial</vt:lpstr>
      <vt:lpstr>Calibri</vt:lpstr>
      <vt:lpstr>Office Theme</vt:lpstr>
      <vt:lpstr>Temáticas posibles para el proyecto final</vt:lpstr>
      <vt:lpstr>Objetivos</vt:lpstr>
      <vt:lpstr>Objetivos</vt:lpstr>
      <vt:lpstr>Temáticas propuestas</vt:lpstr>
      <vt:lpstr>Se propone la creación y análisis de dos bases de datos relacionadas con el deporte: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az De Leon, Eva (MX - Monterrey)</dc:creator>
  <cp:lastModifiedBy>Sergio Ibarra</cp:lastModifiedBy>
  <cp:revision>1128</cp:revision>
  <dcterms:created xsi:type="dcterms:W3CDTF">2018-05-26T18:29:12Z</dcterms:created>
  <dcterms:modified xsi:type="dcterms:W3CDTF">2023-06-14T01:49:34Z</dcterms:modified>
</cp:coreProperties>
</file>